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40" d="100"/>
          <a:sy n="140" d="100"/>
        </p:scale>
        <p:origin x="-6654" y="-39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D33F84C8-1EF1-472F-9493-D6B1C010C7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05182AE4-39BE-4759-802A-E008DC2D09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060D9E59-4704-4E1A-829F-6BF18F2401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8999999999999998</c:v>
                </c:pt>
                <c:pt idx="1">
                  <c:v>0.39</c:v>
                </c:pt>
                <c:pt idx="2">
                  <c:v>0.27</c:v>
                </c:pt>
                <c:pt idx="3">
                  <c:v>0.0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9%</c:v>
                  </c:pt>
                  <c:pt idx="1">
                    <c:v>39%</c:v>
                  </c:pt>
                  <c:pt idx="2">
                    <c:v>27%</c:v>
                  </c:pt>
                  <c:pt idx="3">
                    <c:v>4%</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E9FFCCF3-B707-4671-8E05-DE1AAC76CF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F8811D97-0F43-4C26-B23D-661F2121B9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192B5016-8DB7-420D-AB9B-4F5F5FAA0A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3</c:v>
                </c:pt>
                <c:pt idx="1">
                  <c:v>0.26</c:v>
                </c:pt>
                <c:pt idx="2">
                  <c:v>0.46</c:v>
                </c:pt>
                <c:pt idx="3">
                  <c:v>0.2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3%</c:v>
                  </c:pt>
                  <c:pt idx="1">
                    <c:v>26%</c:v>
                  </c:pt>
                  <c:pt idx="2">
                    <c:v>46%</c:v>
                  </c:pt>
                  <c:pt idx="3">
                    <c:v>24%</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3</c:v>
                </c:pt>
                <c:pt idx="1">
                  <c:v>0.77</c:v>
                </c:pt>
                <c:pt idx="2">
                  <c:v>0.86</c:v>
                </c:pt>
                <c:pt idx="3">
                  <c:v>0.8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C400D1F4-94C4-4BAE-B408-E0359A095C6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FE334F78-D073-4AC8-ABD2-2768B2279C4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04E277B5-C577-47D7-95A9-A298E70E6EB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7</c:v>
                </c:pt>
                <c:pt idx="1">
                  <c:v>0.23</c:v>
                </c:pt>
                <c:pt idx="2">
                  <c:v>0.14000000000000001</c:v>
                </c:pt>
                <c:pt idx="3">
                  <c:v>0.1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3%</c:v>
                  </c:pt>
                  <c:pt idx="1">
                    <c:v>77%</c:v>
                  </c:pt>
                  <c:pt idx="2">
                    <c:v>86%</c:v>
                  </c:pt>
                  <c:pt idx="3">
                    <c:v>81%</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c:v>
                </c:pt>
                <c:pt idx="2">
                  <c:v>0.8</c:v>
                </c:pt>
                <c:pt idx="3">
                  <c:v>0.74</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6AE3467A-4B6C-4D78-9FB2-F9C348ED893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A66F8A7B-765B-402C-9549-23E5080BA0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59AC7084-52CA-4ED2-9899-E77E8EF5DE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C6130C1B-FE92-4014-AF60-336175D8A0A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6</c:v>
                </c:pt>
                <c:pt idx="1">
                  <c:v>0</c:v>
                </c:pt>
                <c:pt idx="2">
                  <c:v>0.2</c:v>
                </c:pt>
                <c:pt idx="3">
                  <c:v>0.26</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c:v>
                  </c:pt>
                  <c:pt idx="2">
                    <c:v>80%</c:v>
                  </c:pt>
                  <c:pt idx="3">
                    <c:v>74%</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C4932B45-A69D-4D3E-B7D4-F1B2290AC9D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D1D83105-65FC-4478-99F2-5367C817913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7E72615C-13CF-4628-9AA0-F594227032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5C24DE8D-1900-4529-83E0-948EDF230F9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3%</c:v>
                  </c:pt>
                  <c:pt idx="1">
                    <c:v>80%</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73111355-8FC6-4A59-8C24-DB77270F488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C921AF8E-A51F-4970-B315-4AAD24D48FB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1%</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40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6%</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6</c:v>
                </c:pt>
                <c:pt idx="1">
                  <c:v>0.85</c:v>
                </c:pt>
                <c:pt idx="2">
                  <c:v>0.88</c:v>
                </c:pt>
                <c:pt idx="3">
                  <c:v>0.86</c:v>
                </c:pt>
                <c:pt idx="4">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68ADA16A-8BFC-47A9-B330-F9B9E85994E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2D9D5FFE-7820-485F-BB9B-817E394D562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62E7B48C-47C3-4BD9-B7A9-7751A988EA1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0293CDC8-3D8D-44A2-8D37-1C93351ACA3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4000000000000001</c:v>
                </c:pt>
                <c:pt idx="1">
                  <c:v>0.15</c:v>
                </c:pt>
                <c:pt idx="2">
                  <c:v>0.12</c:v>
                </c:pt>
                <c:pt idx="3">
                  <c:v>0.14000000000000001</c:v>
                </c:pt>
                <c:pt idx="4">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85%</c:v>
                  </c:pt>
                  <c:pt idx="2">
                    <c:v>88%</c:v>
                  </c:pt>
                  <c:pt idx="3">
                    <c:v>86%</c:v>
                  </c:pt>
                  <c:pt idx="4">
                    <c:v>85%</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94</c:v>
                </c:pt>
                <c:pt idx="1">
                  <c:v>0.82</c:v>
                </c:pt>
                <c:pt idx="2">
                  <c:v>0.86</c:v>
                </c:pt>
                <c:pt idx="3">
                  <c:v>0.9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DA6FBCD7-0FBA-4FCB-B355-311A266CA5A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1AC219B8-1B2E-4BA1-9715-EAC7DEEC37E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215A0A9F-4DA9-416E-99EA-AAB3A8C9095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6</c:v>
                </c:pt>
                <c:pt idx="1">
                  <c:v>0.18</c:v>
                </c:pt>
                <c:pt idx="2">
                  <c:v>0.14000000000000001</c:v>
                </c:pt>
                <c:pt idx="3">
                  <c:v>0.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94%</c:v>
                  </c:pt>
                  <c:pt idx="1">
                    <c:v>82%</c:v>
                  </c:pt>
                  <c:pt idx="2">
                    <c:v>86%</c:v>
                  </c:pt>
                  <c:pt idx="3">
                    <c:v>92%</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5</c:v>
                </c:pt>
                <c:pt idx="1">
                  <c:v>0</c:v>
                </c:pt>
                <c:pt idx="2">
                  <c:v>0.89</c:v>
                </c:pt>
                <c:pt idx="3">
                  <c:v>0.84</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049CDC4C-6870-4361-B3C1-EE079C67775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C3D627EF-A697-4AA2-9CD9-E5666EA8894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3D861CFB-D1ED-4330-8701-FF5948D6E17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2E64D69B-FF60-46C3-A776-8409206E074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5</c:v>
                </c:pt>
                <c:pt idx="1">
                  <c:v>0</c:v>
                </c:pt>
                <c:pt idx="2">
                  <c:v>0.11</c:v>
                </c:pt>
                <c:pt idx="3">
                  <c:v>0.16</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5%</c:v>
                  </c:pt>
                  <c:pt idx="1">
                    <c:v>-</c:v>
                  </c:pt>
                  <c:pt idx="2">
                    <c:v>89%</c:v>
                  </c:pt>
                  <c:pt idx="3">
                    <c:v>84%</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5</c:v>
                </c:pt>
                <c:pt idx="1">
                  <c:v>0.87</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2A84E237-7020-4215-8841-9B626DF01D8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94BD7C3A-2EDC-4458-9A27-A45F04ADD3D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C3CF2B82-38AE-4E12-8B4E-B0E43898FDB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CD8393B7-BE89-4C64-877F-C109AE449AE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5</c:v>
                </c:pt>
                <c:pt idx="1">
                  <c:v>0.13</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5%</c:v>
                  </c:pt>
                  <c:pt idx="1">
                    <c:v>87%</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D5ECBA1D-B713-4BB4-ABBB-4C69629AB2C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15534A57-5BC5-4EE3-BC39-0A59958A061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5</c:v>
                </c:pt>
                <c:pt idx="1">
                  <c:v>85</c:v>
                </c:pt>
                <c:pt idx="2">
                  <c:v>3</c:v>
                </c:pt>
                <c:pt idx="3">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9</c:v>
                </c:pt>
                <c:pt idx="1">
                  <c:v>8</c:v>
                </c:pt>
                <c:pt idx="2">
                  <c:v>2</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r>
                      <a:rPr lang="en-GB"/>
                      <a:t>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115E-48E7-9278-D03DDCBD9794}"/>
                </c:ext>
              </c:extLst>
            </c:dLbl>
            <c:dLbl>
              <c:idx val="2"/>
              <c:tx>
                <c:rich>
                  <a:bodyPr/>
                  <a:lstStyle/>
                  <a:p>
                    <a:fld id="{2689FD31-EAD1-4DBC-B50E-81BB2B52B6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617DD299-A247-4619-97C0-C045FBF866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52EED2F3-A91A-42EF-AE4F-7498C534EF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06F57FBB-E557-406A-8022-26EC9FE649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699D455F-18F8-4895-A21B-621CEE54B5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8</c:v>
                </c:pt>
                <c:pt idx="2">
                  <c:v>4</c:v>
                </c:pt>
                <c:pt idx="3">
                  <c:v>2</c:v>
                </c:pt>
                <c:pt idx="4">
                  <c:v>2</c:v>
                </c:pt>
                <c:pt idx="5">
                  <c:v>3</c:v>
                </c:pt>
                <c:pt idx="6">
                  <c:v>3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0%</c:v>
                  </c:pt>
                  <c:pt idx="1">
                    <c:v>8%p</c:v>
                  </c:pt>
                  <c:pt idx="2">
                    <c:v>4%</c:v>
                  </c:pt>
                  <c:pt idx="3">
                    <c:v>2%</c:v>
                  </c:pt>
                  <c:pt idx="4">
                    <c:v>2%</c:v>
                  </c:pt>
                  <c:pt idx="5">
                    <c:v>3%</c:v>
                  </c:pt>
                  <c:pt idx="6">
                    <c:v>38%</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US"/>
                      <a:t>6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305C-4A2F-9A88-03A72AE7F3F6}"/>
                </c:ext>
              </c:extLst>
            </c:dLbl>
            <c:dLbl>
              <c:idx val="1"/>
              <c:tx>
                <c:rich>
                  <a:bodyPr/>
                  <a:lstStyle/>
                  <a:p>
                    <a:fld id="{2729EB6A-6875-4D27-835C-EE5CECF329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74F67C1A-8BDF-407A-94E6-0C4D036E6A4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5BACC5FD-1D05-4A4C-B29A-EEB852D5F6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25695F96-E140-4D37-BDD4-B926F9858E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CBF1AD94-5D00-4182-9822-F2D021AA51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r>
                      <a:rPr lang="en-GB"/>
                      <a:t>2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62</c:v>
                </c:pt>
                <c:pt idx="1">
                  <c:v>6</c:v>
                </c:pt>
                <c:pt idx="2">
                  <c:v>3</c:v>
                </c:pt>
                <c:pt idx="3">
                  <c:v>2</c:v>
                </c:pt>
                <c:pt idx="4">
                  <c:v>11</c:v>
                </c:pt>
                <c:pt idx="5">
                  <c:v>3</c:v>
                </c:pt>
                <c:pt idx="6">
                  <c:v>2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2%p</c:v>
                  </c:pt>
                  <c:pt idx="1">
                    <c:v>6%</c:v>
                  </c:pt>
                  <c:pt idx="2">
                    <c:v>3%</c:v>
                  </c:pt>
                  <c:pt idx="3">
                    <c:v>2%</c:v>
                  </c:pt>
                  <c:pt idx="4">
                    <c:v>11%</c:v>
                  </c:pt>
                  <c:pt idx="5">
                    <c:v>3%</c:v>
                  </c:pt>
                  <c:pt idx="6">
                    <c:v>26%q</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48D01EF2-514F-4308-BB62-C020B44CD1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1862D0B2-2B70-4884-9769-C475C259C9D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281D71B9-3D2C-4C46-87B1-18AA124330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9D078EA1-5831-44A8-B578-5ED473E0AA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AFA4223E-D0F0-4A4C-93CA-FD36E2971D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F17CBEB8-6883-496F-B4DC-AF80B945885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7</c:v>
                </c:pt>
                <c:pt idx="1">
                  <c:v>8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7%</c:v>
                  </c:pt>
                  <c:pt idx="1">
                    <c:v>83%</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1BFC2D6E-51B7-4799-98D5-8ECC4868EB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BB14021E-5411-4B55-B444-66BEFD86D6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C16B905B-512A-4AB9-B651-B183B10822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1937979E-640E-4AFD-818A-76B5AE40B1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4</c:v>
                </c:pt>
                <c:pt idx="1">
                  <c:v>0.44</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4%</c:v>
                  </c:pt>
                  <c:pt idx="1">
                    <c:v>44%</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261F2095-05E1-45B2-8030-30CAA5DADC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D7E41EA5-8742-437B-B165-FFD9A977A1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145219A6-5A84-4A7C-A56D-A3944EF007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998E9344-F952-415B-9737-F87F3A3082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4</c:v>
                </c:pt>
                <c:pt idx="2">
                  <c:v>0</c:v>
                </c:pt>
                <c:pt idx="3">
                  <c:v>0</c:v>
                </c:pt>
                <c:pt idx="4">
                  <c:v>0.0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4%</c:v>
                  </c:pt>
                  <c:pt idx="1">
                    <c:v>44%</c:v>
                  </c:pt>
                  <c:pt idx="2">
                    <c:v>-</c:v>
                  </c:pt>
                  <c:pt idx="3">
                    <c:v>-</c:v>
                  </c:pt>
                  <c:pt idx="4">
                    <c:v>1%</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3F14A7A9-E97F-44DC-885B-3FD3E28C2C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56208C31-DF0B-4A5D-B19E-25829A9C14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97E88908-02E0-4EE0-9F40-0319B1A4E0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992B1027-C7A0-461C-B828-0013F1B311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c:v>
                </c:pt>
                <c:pt idx="1">
                  <c:v>9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c:v>
                  </c:pt>
                  <c:pt idx="1">
                    <c:v>95%</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323A0492-B038-49D9-9B2D-59A0E2819B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2A5A217D-F620-4160-BA05-EAE4BBE716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173D4CAC-2E63-4FBB-87EE-16C70F6E59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A9798846-5C83-45CE-B73C-8E1F332C3E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18400BE9-791F-4CF9-A393-8B4D4F2709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A39D4B97-D9F1-4D54-B69C-1C6617181F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AA01724B-7427-417C-8B1D-6C2D6FDDEB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3B8E153F-9E4A-435C-903A-787284F3CB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EC83E7A1-A65A-445C-A9D6-9C0BE26BD0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91</c:v>
                </c:pt>
                <c:pt idx="2">
                  <c:v>80</c:v>
                </c:pt>
                <c:pt idx="3">
                  <c:v>71</c:v>
                </c:pt>
                <c:pt idx="4">
                  <c:v>94</c:v>
                </c:pt>
                <c:pt idx="5">
                  <c:v>29</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1%</c:v>
                  </c:pt>
                  <c:pt idx="1">
                    <c:v>91%</c:v>
                  </c:pt>
                  <c:pt idx="2">
                    <c:v>80%</c:v>
                  </c:pt>
                  <c:pt idx="3">
                    <c:v>71%</c:v>
                  </c:pt>
                  <c:pt idx="4">
                    <c:v>94%</c:v>
                  </c:pt>
                  <c:pt idx="5">
                    <c:v>29%</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FAD38618-59F5-4A86-A871-BCDB6A2C9B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3F4DE3F8-EEAD-409C-A214-5D77A74764B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4C67A797-B0D3-434B-8035-57E65C3C18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37418543-190F-4F00-8153-32F79A60E8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1609C83B-C4BC-43CC-A366-B368177129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DAD4B457-E15A-4372-85F6-DF72EA10D6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B5F0A4CE-AC93-42B1-A87C-F939E777E3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9</c:v>
                </c:pt>
                <c:pt idx="1">
                  <c:v>88</c:v>
                </c:pt>
                <c:pt idx="2">
                  <c:v>68</c:v>
                </c:pt>
                <c:pt idx="3">
                  <c:v>65</c:v>
                </c:pt>
                <c:pt idx="4">
                  <c:v>90</c:v>
                </c:pt>
                <c:pt idx="5">
                  <c:v>40</c:v>
                </c:pt>
                <c:pt idx="6">
                  <c:v>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9%</c:v>
                  </c:pt>
                  <c:pt idx="1">
                    <c:v>88%</c:v>
                  </c:pt>
                  <c:pt idx="2">
                    <c:v>68%</c:v>
                  </c:pt>
                  <c:pt idx="3">
                    <c:v>65%</c:v>
                  </c:pt>
                  <c:pt idx="4">
                    <c:v>90%</c:v>
                  </c:pt>
                  <c:pt idx="5">
                    <c:v>40%</c:v>
                  </c:pt>
                  <c:pt idx="6">
                    <c:v>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8</c:v>
                </c:pt>
                <c:pt idx="1">
                  <c:v>34</c:v>
                </c:pt>
                <c:pt idx="2">
                  <c:v>14</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39</c:v>
                </c:pt>
                <c:pt idx="1">
                  <c:v>36</c:v>
                </c:pt>
                <c:pt idx="2">
                  <c:v>20</c:v>
                </c:pt>
                <c:pt idx="3">
                  <c:v>5</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81235ADB-BEB7-4C91-B056-9F14E49434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64C11C8C-2DA8-41D4-B6A8-DFFE6F9749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8%</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9F6200EA-4D4C-4AB3-ADBD-6E032D3F53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9DF88FBF-CB5D-43A3-AC1D-A05CCFC2BD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6</c:v>
                </c:pt>
                <c:pt idx="1">
                  <c:v>0.01</c:v>
                </c:pt>
                <c:pt idx="2">
                  <c:v>0.03</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6%</c:v>
                  </c:pt>
                  <c:pt idx="1">
                    <c:v>1%</c:v>
                  </c:pt>
                  <c:pt idx="2">
                    <c:v>3%</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8</c:v>
                </c:pt>
                <c:pt idx="1">
                  <c:v>19</c:v>
                </c:pt>
                <c:pt idx="2">
                  <c:v>7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14</c:v>
                </c:pt>
                <c:pt idx="1">
                  <c:v>37</c:v>
                </c:pt>
                <c:pt idx="2">
                  <c:v>4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4</c:v>
                </c:pt>
                <c:pt idx="2">
                  <c:v>26</c:v>
                </c:pt>
                <c:pt idx="3">
                  <c:v>16</c:v>
                </c:pt>
                <c:pt idx="4">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0</c:v>
                </c:pt>
                <c:pt idx="1">
                  <c:v>26</c:v>
                </c:pt>
                <c:pt idx="2">
                  <c:v>21</c:v>
                </c:pt>
                <c:pt idx="3">
                  <c:v>16</c:v>
                </c:pt>
                <c:pt idx="4">
                  <c:v>1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53500000000000003</c:v>
                </c:pt>
                <c:pt idx="1">
                  <c:v>0.14399999999999999</c:v>
                </c:pt>
                <c:pt idx="2">
                  <c:v>0.14599999999999999</c:v>
                </c:pt>
                <c:pt idx="3">
                  <c:v>7.6999999999999999E-2</c:v>
                </c:pt>
                <c:pt idx="4">
                  <c:v>9.8000000000000004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54700000000000004</c:v>
                </c:pt>
                <c:pt idx="1">
                  <c:v>0.214</c:v>
                </c:pt>
                <c:pt idx="2">
                  <c:v>0.126</c:v>
                </c:pt>
                <c:pt idx="3">
                  <c:v>5.2999999999999999E-2</c:v>
                </c:pt>
                <c:pt idx="4">
                  <c:v>0.0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6</c:v>
                </c:pt>
                <c:pt idx="2">
                  <c:v>28</c:v>
                </c:pt>
                <c:pt idx="3">
                  <c:v>21</c:v>
                </c:pt>
                <c:pt idx="4">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8</c:v>
                </c:pt>
                <c:pt idx="2">
                  <c:v>21</c:v>
                </c:pt>
                <c:pt idx="3">
                  <c:v>21</c:v>
                </c:pt>
                <c:pt idx="4">
                  <c:v>2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21</c:v>
                </c:pt>
                <c:pt idx="1">
                  <c:v>28</c:v>
                </c:pt>
                <c:pt idx="2">
                  <c:v>20</c:v>
                </c:pt>
                <c:pt idx="3">
                  <c:v>16</c:v>
                </c:pt>
                <c:pt idx="4">
                  <c:v>1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7</c:v>
                </c:pt>
                <c:pt idx="1">
                  <c:v>30</c:v>
                </c:pt>
                <c:pt idx="2">
                  <c:v>17</c:v>
                </c:pt>
                <c:pt idx="3">
                  <c:v>11</c:v>
                </c:pt>
                <c:pt idx="4">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E77FBCAF-AC59-45AA-939C-2A943F4155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D3DBF206-3CE5-4B2A-A9EB-BC8A933AA8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8DAD3BAE-98C2-4A38-8E66-19E982BAEB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01F08B26-E0DF-45CA-BB85-031CB47F43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65</c:v>
                </c:pt>
                <c:pt idx="1">
                  <c:v>0.03</c:v>
                </c:pt>
                <c:pt idx="2">
                  <c:v>0.17</c:v>
                </c:pt>
                <c:pt idx="3">
                  <c:v>0.12</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65%</c:v>
                  </c:pt>
                  <c:pt idx="1">
                    <c:v>3%</c:v>
                  </c:pt>
                  <c:pt idx="2">
                    <c:v>17%</c:v>
                  </c:pt>
                  <c:pt idx="3">
                    <c:v>12%</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7955A5B0-6883-4B86-8DA0-30009EF78B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F866363A-1697-433F-919B-9F6973ACA9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FD866EFF-206B-4919-B985-2BCA139A9A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6683DF6F-E9E8-44A6-9C1B-2552AE716D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48</c:v>
                </c:pt>
                <c:pt idx="1">
                  <c:v>0</c:v>
                </c:pt>
                <c:pt idx="2">
                  <c:v>0.37</c:v>
                </c:pt>
                <c:pt idx="3">
                  <c:v>0.1</c:v>
                </c:pt>
                <c:pt idx="4">
                  <c:v>0.0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48%</c:v>
                  </c:pt>
                  <c:pt idx="1">
                    <c:v>-</c:v>
                  </c:pt>
                  <c:pt idx="2">
                    <c:v>37%</c:v>
                  </c:pt>
                  <c:pt idx="3">
                    <c:v>10%</c:v>
                  </c:pt>
                  <c:pt idx="4">
                    <c:v>2%</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14</c:v>
                </c:pt>
                <c:pt idx="2">
                  <c:v>26</c:v>
                </c:pt>
                <c:pt idx="3">
                  <c:v>18</c:v>
                </c:pt>
                <c:pt idx="4">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0</c:v>
                </c:pt>
                <c:pt idx="1">
                  <c:v>20</c:v>
                </c:pt>
                <c:pt idx="2">
                  <c:v>26</c:v>
                </c:pt>
                <c:pt idx="3">
                  <c:v>15</c:v>
                </c:pt>
                <c:pt idx="4">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5</c:v>
                </c:pt>
                <c:pt idx="1">
                  <c:v>31</c:v>
                </c:pt>
                <c:pt idx="2">
                  <c:v>36</c:v>
                </c:pt>
                <c:pt idx="3">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7</c:v>
                </c:pt>
                <c:pt idx="1">
                  <c:v>40</c:v>
                </c:pt>
                <c:pt idx="2">
                  <c:v>27</c:v>
                </c:pt>
                <c:pt idx="3">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4</c:v>
                </c:pt>
                <c:pt idx="1">
                  <c:v>36</c:v>
                </c:pt>
                <c:pt idx="2">
                  <c:v>13</c:v>
                </c:pt>
                <c:pt idx="3">
                  <c:v>5</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4</c:v>
                </c:pt>
                <c:pt idx="1">
                  <c:v>27</c:v>
                </c:pt>
                <c:pt idx="2">
                  <c:v>4</c:v>
                </c:pt>
                <c:pt idx="3">
                  <c:v>4</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7</c:v>
                </c:pt>
                <c:pt idx="1">
                  <c:v>48</c:v>
                </c:pt>
                <c:pt idx="2">
                  <c:v>22</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6</c:v>
                </c:pt>
                <c:pt idx="1">
                  <c:v>53</c:v>
                </c:pt>
                <c:pt idx="2">
                  <c:v>16</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2899999999999999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308291C4-054E-4C2E-A8A0-C76F1324DE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B3096FC4-80B3-49E9-A827-C18CD5714F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9467F226-7534-4644-A3FA-257B502420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BDDB8724-7C2B-4031-9A1E-391E4AE21C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93532F63-8AE8-4161-A982-9663AFDB68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1%</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CFB6-49AC-A845-714BC7862DE1}"/>
                </c:ext>
              </c:extLst>
            </c:dLbl>
            <c:dLbl>
              <c:idx val="1"/>
              <c:tx>
                <c:rich>
                  <a:bodyPr/>
                  <a:lstStyle/>
                  <a:p>
                    <a:r>
                      <a:rPr lang="en-GB"/>
                      <a:t>4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1%q</c:v>
                  </c:pt>
                  <c:pt idx="1">
                    <c:v>49%p</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A8B4E254-06ED-433C-B3A3-7DCDE6D7A6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9%</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3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9</c:v>
                </c:pt>
                <c:pt idx="1">
                  <c:v>3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9%q</c:v>
                  </c:pt>
                  <c:pt idx="1">
                    <c:v>31%p</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988E0BF5-E195-4E5A-B19C-062E380C6C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92EC204D-A0F6-46A1-8147-969AF8D994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7</c:v>
                </c:pt>
                <c:pt idx="1">
                  <c:v>6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7%</c:v>
                  </c:pt>
                  <c:pt idx="1">
                    <c:v>63%</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89DD30A4-918B-4538-8925-6D8BE7F1F6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8%</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5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8%p</c:v>
                  </c:pt>
                  <c:pt idx="1">
                    <c:v>52%q</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47C4C50F-03AE-4C01-B6E6-3E4120EB6E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BB13208D-1BDC-4BFF-B9B2-96AA8670AF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1%</c:v>
                  </c:pt>
                  <c:pt idx="1">
                    <c:v>59%</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ADBE7673-35E5-4568-B5D1-F28B2138BF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175F1680-6CEC-4422-BAD8-04E46475D1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6</c:v>
                </c:pt>
                <c:pt idx="1">
                  <c:v>6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6%</c:v>
                  </c:pt>
                  <c:pt idx="1">
                    <c:v>64%</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71F9B47C-71E4-40B5-A6C5-4161AD2B82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2%</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4F3E-4C45-9DAC-B2929C4B2C23}"/>
                </c:ext>
              </c:extLst>
            </c:dLbl>
            <c:dLbl>
              <c:idx val="1"/>
              <c:tx>
                <c:rich>
                  <a:bodyPr/>
                  <a:lstStyle/>
                  <a:p>
                    <a:r>
                      <a:rPr lang="en-GB"/>
                      <a:t>2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2</c:v>
                </c:pt>
                <c:pt idx="1">
                  <c:v>2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2%q</c:v>
                  </c:pt>
                  <c:pt idx="1">
                    <c:v>28%p</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F6801361-7F14-4FFA-A9AB-97508176A0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00E191C0-387D-40E2-8736-268DC2B0EC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A6E7CA88-ED71-433F-B5E8-161E931B69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47C33BA5-1B35-498A-B200-5D2E858E69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8</c:v>
                </c:pt>
                <c:pt idx="1">
                  <c:v>4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8%</c:v>
                  </c:pt>
                  <c:pt idx="1">
                    <c:v>42%</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072FA386-C6EB-4303-8E46-8444FA82AD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EA4FAEC9-2679-4F27-88A2-BBF893CD67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0</c:v>
                </c:pt>
                <c:pt idx="1">
                  <c:v>5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0%</c:v>
                  </c:pt>
                  <c:pt idx="1">
                    <c:v>50%</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6172CEE5-4B5D-4D53-A012-A5874BBA56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649907CE-910F-41E3-BC38-9C6735763F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E6B0FC04-ABE8-4391-A5C3-D1D68C3D7E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898FBEBF-248B-4059-8111-063F20A29E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3%</c:v>
                  </c:pt>
                  <c:pt idx="1">
                    <c:v>27%</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6</c:v>
                </c:pt>
                <c:pt idx="1">
                  <c:v>32</c:v>
                </c:pt>
                <c:pt idx="2">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9</c:v>
                </c:pt>
                <c:pt idx="1">
                  <c:v>46</c:v>
                </c:pt>
                <c:pt idx="2">
                  <c:v>1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DF14E9EE-B19C-426A-AB4F-F2D496379E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4F376AC8-9D23-4C09-9F2D-2B1C71CC10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281EB550-529E-43E6-B766-455EC93B23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996C010C-B5CC-4953-A87F-70BC329F5E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54E15724-ECBF-478B-A5DC-8F04DAAFEE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14905B52-B5F1-47DB-B859-1847A9BFCAE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9</c:v>
                </c:pt>
                <c:pt idx="1">
                  <c:v>9</c:v>
                </c:pt>
                <c:pt idx="2">
                  <c:v>62</c:v>
                </c:pt>
                <c:pt idx="3">
                  <c:v>29</c:v>
                </c:pt>
                <c:pt idx="4">
                  <c:v>22</c:v>
                </c:pt>
                <c:pt idx="5">
                  <c:v>17</c:v>
                </c:pt>
                <c:pt idx="6">
                  <c:v>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9%</c:v>
                  </c:pt>
                  <c:pt idx="1">
                    <c:v>9%</c:v>
                  </c:pt>
                  <c:pt idx="2">
                    <c:v>62%</c:v>
                  </c:pt>
                  <c:pt idx="3">
                    <c:v>29%</c:v>
                  </c:pt>
                  <c:pt idx="4">
                    <c:v>22%</c:v>
                  </c:pt>
                  <c:pt idx="5">
                    <c:v>17%</c:v>
                  </c:pt>
                  <c:pt idx="6">
                    <c:v>9%</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39%</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121A-46C7-99A3-C7EC76CE57AC}"/>
                </c:ext>
              </c:extLst>
            </c:dLbl>
            <c:dLbl>
              <c:idx val="1"/>
              <c:tx>
                <c:rich>
                  <a:bodyPr/>
                  <a:lstStyle/>
                  <a:p>
                    <a:fld id="{760A5D20-FC3D-46E7-8396-5F51AF776C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C8047C69-B6D8-4669-857A-DB0E364904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3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56F366F7-F1DD-495B-A076-131DCBA0E0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r>
                      <a:rPr lang="en-GB"/>
                      <a:t>2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21A-46C7-99A3-C7EC76CE57AC}"/>
                </c:ext>
              </c:extLst>
            </c:dLbl>
            <c:dLbl>
              <c:idx val="6"/>
              <c:tx>
                <c:rich>
                  <a:bodyPr/>
                  <a:lstStyle/>
                  <a:p>
                    <a:fld id="{24C85B9D-B580-4AEE-9EF5-B3EDBF8772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9</c:v>
                </c:pt>
                <c:pt idx="1">
                  <c:v>21</c:v>
                </c:pt>
                <c:pt idx="2">
                  <c:v>35</c:v>
                </c:pt>
                <c:pt idx="3">
                  <c:v>36</c:v>
                </c:pt>
                <c:pt idx="4">
                  <c:v>8</c:v>
                </c:pt>
                <c:pt idx="5">
                  <c:v>20</c:v>
                </c:pt>
                <c:pt idx="6">
                  <c:v>1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39%p</c:v>
                  </c:pt>
                  <c:pt idx="1">
                    <c:v>21%</c:v>
                  </c:pt>
                  <c:pt idx="2">
                    <c:v>35%</c:v>
                  </c:pt>
                  <c:pt idx="3">
                    <c:v>36%q</c:v>
                  </c:pt>
                  <c:pt idx="4">
                    <c:v>8%</c:v>
                  </c:pt>
                  <c:pt idx="5">
                    <c:v>20%p</c:v>
                  </c:pt>
                  <c:pt idx="6">
                    <c:v>12%</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45</c:v>
                </c:pt>
                <c:pt idx="1">
                  <c:v>43</c:v>
                </c:pt>
                <c:pt idx="2">
                  <c:v>10</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2</c:v>
                </c:pt>
                <c:pt idx="1">
                  <c:v>41</c:v>
                </c:pt>
                <c:pt idx="2">
                  <c:v>6</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1%</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8</c:v>
                </c:pt>
                <c:pt idx="1">
                  <c:v>0.86</c:v>
                </c:pt>
                <c:pt idx="2">
                  <c:v>0.82</c:v>
                </c:pt>
                <c:pt idx="3">
                  <c:v>0.83</c:v>
                </c:pt>
                <c:pt idx="4">
                  <c:v>0.9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E335A4CA-479D-4946-9B07-77586A6237E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0300453C-8FF4-4CA4-AF6E-AFBF9A62A32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D4DC4477-4E14-4490-8A7D-93F6C17E37C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36B7E9E6-E71B-43C7-9FC0-E79FC226402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2</c:v>
                </c:pt>
                <c:pt idx="1">
                  <c:v>0.14000000000000001</c:v>
                </c:pt>
                <c:pt idx="2">
                  <c:v>0.18</c:v>
                </c:pt>
                <c:pt idx="3">
                  <c:v>0.17</c:v>
                </c:pt>
                <c:pt idx="4">
                  <c:v>0.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8%</c:v>
                  </c:pt>
                  <c:pt idx="1">
                    <c:v>86%</c:v>
                  </c:pt>
                  <c:pt idx="2">
                    <c:v>82%</c:v>
                  </c:pt>
                  <c:pt idx="3">
                    <c:v>83%</c:v>
                  </c:pt>
                  <c:pt idx="4">
                    <c:v>91%</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IRMINGHAM AND SOLIHULL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IRMINGHAM AND SOLIHULL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IRMINGHAM AND SOLIHULL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IRMINGHAM AND SOLIHULL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IRMINGHAM AND SOLIHULL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BIRMINGHAM AND SOLIHULL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170495179"/>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47992700"/>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376464845"/>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confidence in managing their diabetes day-to-day
Healthcare professionals providing support to monitor blood sugar level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633456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IRMINGHAM AND SOLIHULL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81616588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4885095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9% of respondents who were marked as Type 1 in the sample selected ‘Type 1’, 8% selected ‘Type 2’, 2% selected ‘Other’ and 1% selected ‘I don’t know’ ​</a:t>
            </a:r>
          </a:p>
          <a:p>
            <a:pPr marL="171450" indent="-171450">
              <a:buFont typeface="Arial" panose="020B0604020202020204" pitchFamily="34" charset="0"/>
              <a:buChar char="•"/>
              <a:defRPr/>
            </a:pPr>
            <a:r>
              <a:rPr lang="en-GB" sz="1200" dirty="0">
                <a:solidFill>
                  <a:schemeClr val="tx1"/>
                </a:solidFill>
                <a:effectLst/>
              </a:rPr>
              <a:t>85% of respondents who were marked as Type 2 in the sample selected ‘Type 2’, 5% selected ‘Type 1’, 3% selected ‘Other’ and 7%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35); Type 2, ICS (583)).</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933841567"/>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586702020"/>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2291289045"/>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228699359"/>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62041127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76); Type 2, National (19,941), ICS (468))</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56327334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31025920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71); Type 2, National (22,278), ICS (528))</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86415984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10875759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36); Type 2, National (21,082), ICS (508))</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271259964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3934384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33); Type 2, National (24,180), ICS (575))</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772815543"/>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218634397"/>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340821053"/>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761497951"/>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203593644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8); Type 2, National (22,482), ICS (520))</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81872536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08532198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83501730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67672333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03405773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25400926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10753986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50139038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87341061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16); Type 2, National (22,670), ICS (530))</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358363641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357419316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417701645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76794780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75181945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62713516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38383629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60543883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72174014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34); Type 2, National (24,076), ICS (573))</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165707369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69322849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18575733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94056686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378778050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18371177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16893868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5520305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33); Type 2, National (24,153), ICS (577))</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70605560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200457135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357310630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92829994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32424294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77474107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9192960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4215612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226567652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31); Type 2, National (24,135), ICS (57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02715253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70501235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411803705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32638820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18398232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18445444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7674558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438267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319644773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33); Type 2, National (24,084), ICS (57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405248148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99117662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08964255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72443912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65485187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57300259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73120421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73918620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370952258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32); Type 2, National (24,070), ICS (57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406036592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814375945"/>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80790056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150354807"/>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428463691"/>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10179455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049086411"/>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20888244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12925358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33); Type 2, National (24,260), ICS (581))</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82760838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262884509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15982729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5929793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79713002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394537393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143691399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47550226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305757536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34); Type 2, National (24,267), ICS (577))</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23302754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227630351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38648531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11451306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352186149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57676478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420728712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86228830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75622697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32); Type 2, National (24,196), ICS (582))</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426933589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00751221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84955359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32); Type 2, National (24,019), ICS (572))</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96726836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57099666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89); Type 2, National (11,860), ICS (268))</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4382338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30259851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17); Type 2, National (21,228), ICS (508))</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95097108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30941566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07); Type 2, National (20,915), ICS (498))</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171975443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22438560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01); Type 2, National (20,086), ICS (499))</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67128723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15561577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05); Type 2, National (21,890), ICS (529))</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69907762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177695977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83); Type 2, National (18,585), ICS (466))</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68051289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30009288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68812583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97828265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360968517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21599751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16866101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312318605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16); Type 2, National (22,580), ICS (533))</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94483297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600490752"/>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581146053"/>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2320590443"/>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866345753"/>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353572932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18); Type 2, National (12,350), ICS (342))</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47469635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1953288393"/>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87822760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59502684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264880784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56770726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8213165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352986050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16); Type 2, National (10,911), ICS (26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0601359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796171050"/>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475680465"/>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641247266"/>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012520070"/>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854319970"/>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892999265"/>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11))</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58660516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84634208"/>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483008937"/>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798489217"/>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48580893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887772853"/>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26))</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BIRMINGHAM AND SOLIHULL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304</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21</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1%</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36</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85</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64</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2,040</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115849481"/>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785499221"/>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364746918"/>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750034084"/>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888571617"/>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373916728"/>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2941686491"/>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IRMINGHAM AND SOLIHULL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764380395"/>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2153631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279848884"/>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information about the potential complications of living with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34831646"/>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6</TotalTime>
  <Words>5293</Words>
  <Application>Microsoft Office PowerPoint</Application>
  <PresentationFormat>Widescreen</PresentationFormat>
  <Paragraphs>808</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Barlow</vt:lpstr>
      <vt:lpstr>Arial</vt:lpstr>
      <vt:lpstr>Wingdings 3</vt:lpstr>
      <vt:lpstr>Segoe UI</vt:lpstr>
      <vt:lpstr>HelveticaNeueLT Std Lt Cn</vt:lpstr>
      <vt:lpstr>Arial (Body)</vt:lpstr>
      <vt:lpstr>Roboto</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4</cp:revision>
  <cp:lastPrinted>2024-09-17T13:37:47Z</cp:lastPrinted>
  <dcterms:created xsi:type="dcterms:W3CDTF">2024-06-17T14:42:21Z</dcterms:created>
  <dcterms:modified xsi:type="dcterms:W3CDTF">2024-12-04T11:4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